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1"/>
    <p:sldMasterId id="2147483745" r:id="rId2"/>
    <p:sldMasterId id="2147483764" r:id="rId3"/>
    <p:sldMasterId id="2147483780" r:id="rId4"/>
  </p:sldMasterIdLst>
  <p:notesMasterIdLst>
    <p:notesMasterId r:id="rId22"/>
  </p:notesMasterIdLst>
  <p:handoutMasterIdLst>
    <p:handoutMasterId r:id="rId23"/>
  </p:handoutMasterIdLst>
  <p:sldIdLst>
    <p:sldId id="488" r:id="rId5"/>
    <p:sldId id="530" r:id="rId6"/>
    <p:sldId id="531" r:id="rId7"/>
    <p:sldId id="491" r:id="rId8"/>
    <p:sldId id="520" r:id="rId9"/>
    <p:sldId id="532" r:id="rId10"/>
    <p:sldId id="521" r:id="rId11"/>
    <p:sldId id="507" r:id="rId12"/>
    <p:sldId id="508" r:id="rId13"/>
    <p:sldId id="522" r:id="rId14"/>
    <p:sldId id="534" r:id="rId15"/>
    <p:sldId id="528" r:id="rId16"/>
    <p:sldId id="523" r:id="rId17"/>
    <p:sldId id="525" r:id="rId18"/>
    <p:sldId id="529" r:id="rId19"/>
    <p:sldId id="527" r:id="rId20"/>
    <p:sldId id="519" r:id="rId21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615" autoAdjust="0"/>
    <p:restoredTop sz="99467" autoAdjust="0"/>
  </p:normalViewPr>
  <p:slideViewPr>
    <p:cSldViewPr>
      <p:cViewPr varScale="1">
        <p:scale>
          <a:sx n="97" d="100"/>
          <a:sy n="97" d="100"/>
        </p:scale>
        <p:origin x="-59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302"/>
    </p:cViewPr>
  </p:sorterViewPr>
  <p:notesViewPr>
    <p:cSldViewPr>
      <p:cViewPr varScale="1">
        <p:scale>
          <a:sx n="74" d="100"/>
          <a:sy n="74" d="100"/>
        </p:scale>
        <p:origin x="-267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1D96D-FC27-4F6D-8283-212B6D9D2588}" type="datetimeFigureOut">
              <a:rPr lang="en-US" smtClean="0"/>
              <a:t>9/5/2013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6721F-3142-4430-8D90-F65A8722CF3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6280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11FD3E-2E3D-48B0-9773-47D6C4212C5A}" type="datetimeFigureOut">
              <a:rPr lang="fr-FR" smtClean="0"/>
              <a:pPr/>
              <a:t>05/09/201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A74920-7E26-45EE-AE79-5E99C471C44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66854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  <p:sp>
          <p:nvSpPr>
            <p:cNvPr id="19" name="Titre 5"/>
            <p:cNvSpPr txBox="1">
              <a:spLocks/>
            </p:cNvSpPr>
            <p:nvPr userDrawn="1"/>
          </p:nvSpPr>
          <p:spPr>
            <a:xfrm>
              <a:off x="2742304" y="6613200"/>
              <a:ext cx="2045720" cy="1502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ts val="1000"/>
                </a:lnSpc>
              </a:pPr>
              <a:r>
                <a:rPr lang="fr-FR" sz="1600" b="1" spc="10" baseline="0" dirty="0" smtClean="0">
                  <a:solidFill>
                    <a:schemeClr val="bg2"/>
                  </a:solidFill>
                  <a:latin typeface="+mn-lt"/>
                  <a:cs typeface="Arial" pitchFamily="34" charset="0"/>
                </a:rPr>
                <a:t>www.groupe-sii.com</a:t>
              </a:r>
              <a:endParaRPr lang="fr-FR" sz="1600" b="1" spc="10" baseline="0" dirty="0">
                <a:solidFill>
                  <a:schemeClr val="bg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15" name="Espace réservé de la date 3"/>
          <p:cNvSpPr txBox="1">
            <a:spLocks/>
          </p:cNvSpPr>
          <p:nvPr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pic>
        <p:nvPicPr>
          <p:cNvPr id="20" name="Picture 6" descr="C:\Users\dhiridjee\Documents\02_iPMP\02_SVN\branches\V1.6.1\view\img\logo.pn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3" t="-2032" r="-4534" b="1876"/>
          <a:stretch/>
        </p:blipFill>
        <p:spPr bwMode="auto">
          <a:xfrm>
            <a:off x="-7620" y="335934"/>
            <a:ext cx="2863850" cy="73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7339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tx2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744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2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075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9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855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27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693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36801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3250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511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899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3742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93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352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9488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7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21" name="Connecteur droit 20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755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6122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7497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6"/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 b="1"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319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0157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9807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:\Users\dhiridjee\Documents\02_iPMP\02_SVN\branches\V1.6.1\view\img\logo.pn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3" t="-2032" r="-4534" b="1876"/>
          <a:stretch/>
        </p:blipFill>
        <p:spPr bwMode="auto">
          <a:xfrm>
            <a:off x="-7620" y="335934"/>
            <a:ext cx="2863850" cy="73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384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055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277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20" name="Connecteur droit 19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à coins arrondis 20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3" name="Rectangle à coins arrondis 22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962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630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3223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1675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6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0517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329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63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14993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77361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8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32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590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178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1441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02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52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9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9032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19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21" name="Connecteur droit 20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244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1533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5675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6" name="ZoneTexte 15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3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97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9145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0010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234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5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868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736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604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690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220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600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400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78099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2" name="Groupe 1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2286000" y="310534"/>
              <a:ext cx="2286000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4572000" y="310534"/>
              <a:ext cx="2286000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6858000" y="310534"/>
              <a:ext cx="2286000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2286000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7410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3049200" y="310534"/>
              <a:ext cx="3047224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6096776" y="310534"/>
              <a:ext cx="3047224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3047224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20290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6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6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Guide utilisateur </a:t>
            </a:r>
            <a:r>
              <a:rPr lang="fr-FR" dirty="0" err="1" smtClean="0"/>
              <a:t>iPMP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612774" y="3356992"/>
            <a:ext cx="6273329" cy="369332"/>
          </a:xfrm>
        </p:spPr>
        <p:txBody>
          <a:bodyPr/>
          <a:lstStyle/>
          <a:p>
            <a:r>
              <a:rPr lang="fr-FR" dirty="0" smtClean="0"/>
              <a:t>Chef de Projet</a:t>
            </a:r>
            <a:endParaRPr lang="en-US" dirty="0"/>
          </a:p>
        </p:txBody>
      </p:sp>
      <p:sp>
        <p:nvSpPr>
          <p:cNvPr id="4" name="Sous-titre 2"/>
          <p:cNvSpPr txBox="1">
            <a:spLocks/>
          </p:cNvSpPr>
          <p:nvPr/>
        </p:nvSpPr>
        <p:spPr>
          <a:xfrm>
            <a:off x="179511" y="5569495"/>
            <a:ext cx="627332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4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 smtClean="0"/>
              <a:t>Référence : XXXX</a:t>
            </a:r>
            <a:endParaRPr lang="en-US" sz="2000" dirty="0"/>
          </a:p>
        </p:txBody>
      </p:sp>
      <p:sp>
        <p:nvSpPr>
          <p:cNvPr id="5" name="Sous-titre 2"/>
          <p:cNvSpPr txBox="1">
            <a:spLocks/>
          </p:cNvSpPr>
          <p:nvPr/>
        </p:nvSpPr>
        <p:spPr>
          <a:xfrm>
            <a:off x="2627784" y="3995772"/>
            <a:ext cx="627332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4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fr-FR" b="1" dirty="0" smtClean="0"/>
              <a:t>Fonction Importatio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907155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Vérifier le résultat de l’opération 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xemple1 : Mise à jour de </a:t>
            </a:r>
            <a:r>
              <a:rPr lang="fr-FR" dirty="0" smtClean="0"/>
              <a:t>tickets (4/4)</a:t>
            </a:r>
            <a:endParaRPr lang="en-US" dirty="0"/>
          </a:p>
        </p:txBody>
      </p:sp>
      <p:grpSp>
        <p:nvGrpSpPr>
          <p:cNvPr id="4" name="Groupe 3"/>
          <p:cNvGrpSpPr/>
          <p:nvPr/>
        </p:nvGrpSpPr>
        <p:grpSpPr>
          <a:xfrm>
            <a:off x="539552" y="2276872"/>
            <a:ext cx="7560840" cy="1662286"/>
            <a:chOff x="1338486" y="2990850"/>
            <a:chExt cx="5595714" cy="876300"/>
          </a:xfrm>
        </p:grpSpPr>
        <p:pic>
          <p:nvPicPr>
            <p:cNvPr id="614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8486" y="2996952"/>
              <a:ext cx="866775" cy="847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147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9800" y="2990850"/>
              <a:ext cx="4724400" cy="8763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" name="Rectangle à coins arrondis 4"/>
          <p:cNvSpPr/>
          <p:nvPr/>
        </p:nvSpPr>
        <p:spPr>
          <a:xfrm>
            <a:off x="1710725" y="3573016"/>
            <a:ext cx="6389667" cy="504056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Légende encadrée 2 7"/>
          <p:cNvSpPr/>
          <p:nvPr/>
        </p:nvSpPr>
        <p:spPr>
          <a:xfrm>
            <a:off x="2699792" y="4941168"/>
            <a:ext cx="2736304" cy="1008112"/>
          </a:xfrm>
          <a:prstGeom prst="borderCallout2">
            <a:avLst>
              <a:gd name="adj1" fmla="val -6852"/>
              <a:gd name="adj2" fmla="val 54514"/>
              <a:gd name="adj3" fmla="val -36418"/>
              <a:gd name="adj4" fmla="val 118491"/>
              <a:gd name="adj5" fmla="val -106315"/>
              <a:gd name="adj6" fmla="val 121979"/>
            </a:avLst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/>
              <a:t>Aucun changement effectué du fait de la valeur erronée</a:t>
            </a:r>
            <a:endParaRPr lang="en-US" sz="2000" dirty="0"/>
          </a:p>
        </p:txBody>
      </p:sp>
      <p:cxnSp>
        <p:nvCxnSpPr>
          <p:cNvPr id="7" name="Connecteur droit avec flèche 6"/>
          <p:cNvCxnSpPr/>
          <p:nvPr/>
        </p:nvCxnSpPr>
        <p:spPr>
          <a:xfrm flipH="1" flipV="1">
            <a:off x="2267744" y="3825044"/>
            <a:ext cx="1512168" cy="1044116"/>
          </a:xfrm>
          <a:prstGeom prst="straightConnector1">
            <a:avLst/>
          </a:prstGeom>
          <a:ln w="38100"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6674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vertical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/>
              <a:t>Description</a:t>
            </a:r>
            <a:endParaRPr lang="en-US" dirty="0"/>
          </a:p>
        </p:txBody>
      </p:sp>
      <p:sp>
        <p:nvSpPr>
          <p:cNvPr id="7" name="Espace réservé du texte vertical 6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 smtClean="0"/>
              <a:t>Exemple1 : Mise à jour de tickets</a:t>
            </a:r>
            <a:endParaRPr lang="en-US" dirty="0"/>
          </a:p>
        </p:txBody>
      </p:sp>
      <p:sp>
        <p:nvSpPr>
          <p:cNvPr id="8" name="Espace réservé du texte vertical 7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/>
              <a:t>Exemple2 : Création de nouvelles activité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49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Dans cet exemple, on veut dupliquer une série d’activités pour par exemple refaire les mêmes activités pour une nouvelle version du produit</a:t>
            </a:r>
          </a:p>
          <a:p>
            <a:pPr lvl="1"/>
            <a:r>
              <a:rPr lang="fr-FR" dirty="0" smtClean="0"/>
              <a:t>Résultat souhaité:</a:t>
            </a:r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624736" cy="400110"/>
          </a:xfrm>
        </p:spPr>
        <p:txBody>
          <a:bodyPr/>
          <a:lstStyle/>
          <a:p>
            <a:r>
              <a:rPr lang="fr-FR" dirty="0" smtClean="0"/>
              <a:t>Exemple2 </a:t>
            </a:r>
            <a:r>
              <a:rPr lang="fr-FR" dirty="0"/>
              <a:t>: </a:t>
            </a:r>
            <a:r>
              <a:rPr lang="fr-FR" dirty="0" smtClean="0"/>
              <a:t>Création de nouvelles activités (1/5)</a:t>
            </a:r>
            <a:endParaRPr lang="en-US" dirty="0"/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3501008"/>
            <a:ext cx="5904656" cy="26989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141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Se placer dans la vue « Activités » et exporter en .CSV</a:t>
            </a:r>
          </a:p>
          <a:p>
            <a:r>
              <a:rPr lang="fr-FR" dirty="0" smtClean="0"/>
              <a:t>Sous Excel:</a:t>
            </a:r>
          </a:p>
          <a:p>
            <a:pPr lvl="1"/>
            <a:r>
              <a:rPr lang="fr-FR" dirty="0" smtClean="0"/>
              <a:t>Supprimer les lignes non voulues</a:t>
            </a:r>
          </a:p>
          <a:p>
            <a:pPr lvl="1"/>
            <a:r>
              <a:rPr lang="fr-FR" dirty="0" smtClean="0"/>
              <a:t>Trier par la colonne « WBS » pour avoir une vue organisée</a:t>
            </a:r>
          </a:p>
          <a:p>
            <a:pPr lvl="1"/>
            <a:r>
              <a:rPr lang="fr-FR" b="1" dirty="0" smtClean="0">
                <a:solidFill>
                  <a:srgbClr val="FF0000"/>
                </a:solidFill>
              </a:rPr>
              <a:t>Supprimer les « ID » </a:t>
            </a:r>
            <a:r>
              <a:rPr lang="fr-FR" dirty="0" smtClean="0">
                <a:solidFill>
                  <a:srgbClr val="FF0000"/>
                </a:solidFill>
              </a:rPr>
              <a:t>(sinon les activités existantes sont écrasées)</a:t>
            </a:r>
          </a:p>
          <a:p>
            <a:pPr lvl="1"/>
            <a:r>
              <a:rPr lang="fr-FR" dirty="0" smtClean="0"/>
              <a:t>Supprimer la colonne « Reference »</a:t>
            </a:r>
          </a:p>
          <a:p>
            <a:pPr lvl="1"/>
            <a:r>
              <a:rPr lang="fr-FR" b="1" dirty="0" smtClean="0">
                <a:solidFill>
                  <a:srgbClr val="FF0000"/>
                </a:solidFill>
              </a:rPr>
              <a:t>Conserver et vérifier la colonne « </a:t>
            </a:r>
            <a:r>
              <a:rPr lang="fr-FR" b="1" dirty="0" err="1" smtClean="0">
                <a:solidFill>
                  <a:srgbClr val="FF0000"/>
                </a:solidFill>
              </a:rPr>
              <a:t>project</a:t>
            </a:r>
            <a:r>
              <a:rPr lang="fr-FR" b="1" dirty="0" smtClean="0">
                <a:solidFill>
                  <a:srgbClr val="FF0000"/>
                </a:solidFill>
              </a:rPr>
              <a:t> » 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696744" cy="400110"/>
          </a:xfrm>
        </p:spPr>
        <p:txBody>
          <a:bodyPr/>
          <a:lstStyle/>
          <a:p>
            <a:r>
              <a:rPr lang="fr-FR" dirty="0" smtClean="0"/>
              <a:t>Exemple2 </a:t>
            </a:r>
            <a:r>
              <a:rPr lang="fr-FR" dirty="0"/>
              <a:t>: </a:t>
            </a:r>
            <a:r>
              <a:rPr lang="fr-FR" dirty="0" smtClean="0"/>
              <a:t>Création de nouvelles activités (2/5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214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Attention à la colonne « Parent </a:t>
            </a:r>
            <a:r>
              <a:rPr lang="fr-FR" dirty="0" err="1" smtClean="0"/>
              <a:t>Activity</a:t>
            </a:r>
            <a:r>
              <a:rPr lang="fr-FR" dirty="0" smtClean="0"/>
              <a:t> »:</a:t>
            </a:r>
          </a:p>
          <a:p>
            <a:pPr lvl="1"/>
            <a:r>
              <a:rPr lang="fr-FR" dirty="0" smtClean="0"/>
              <a:t>Si elle n’est pas remplie, toutes les activités sont mises à plat à la racine du projet</a:t>
            </a:r>
          </a:p>
          <a:p>
            <a:pPr lvl="1"/>
            <a:r>
              <a:rPr lang="fr-FR" dirty="0" smtClean="0"/>
              <a:t>Si on veut une arborescence à plusieurs niveaux, il faut procéder en plusieurs étapes, niveau par niveau</a:t>
            </a:r>
          </a:p>
          <a:p>
            <a:r>
              <a:rPr lang="fr-FR" dirty="0" smtClean="0"/>
              <a:t>Sauvegarder dans un fichier imp_L1.csv les activités de WBS niveau 1, en supprimant les lignes de niveau WBS inférieur</a:t>
            </a:r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624736" cy="400110"/>
          </a:xfrm>
        </p:spPr>
        <p:txBody>
          <a:bodyPr/>
          <a:lstStyle/>
          <a:p>
            <a:r>
              <a:rPr lang="fr-FR" dirty="0" smtClean="0"/>
              <a:t>Exemple2 </a:t>
            </a:r>
            <a:r>
              <a:rPr lang="fr-FR" dirty="0"/>
              <a:t>: </a:t>
            </a:r>
            <a:r>
              <a:rPr lang="fr-FR" dirty="0" smtClean="0"/>
              <a:t>Création de nouvelles activités (3/5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4797152"/>
            <a:ext cx="7375042" cy="1224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9820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Sauvegarder dans un fichier imp_L2.csv les activités de WBS niveau 2</a:t>
            </a:r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624736" cy="400110"/>
          </a:xfrm>
        </p:spPr>
        <p:txBody>
          <a:bodyPr/>
          <a:lstStyle/>
          <a:p>
            <a:r>
              <a:rPr lang="fr-FR" dirty="0" smtClean="0"/>
              <a:t>Exemple2 </a:t>
            </a:r>
            <a:r>
              <a:rPr lang="fr-FR" dirty="0"/>
              <a:t>: </a:t>
            </a:r>
            <a:r>
              <a:rPr lang="fr-FR" dirty="0" smtClean="0"/>
              <a:t>Création de nouvelles activités (4/5)</a:t>
            </a:r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2852936"/>
            <a:ext cx="7773290" cy="223224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791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Importer d’abord le fichier imp_L1</a:t>
            </a:r>
          </a:p>
          <a:p>
            <a:r>
              <a:rPr lang="fr-FR" dirty="0" smtClean="0"/>
              <a:t>Importer ensuite le fichier imp_L2</a:t>
            </a:r>
          </a:p>
          <a:p>
            <a:r>
              <a:rPr lang="fr-FR" dirty="0"/>
              <a:t>En résultat, les champs non importés (qui sont calculés par l’outil) apparaissent en bleu</a:t>
            </a:r>
            <a:endParaRPr lang="en-US" dirty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768752" cy="400110"/>
          </a:xfrm>
        </p:spPr>
        <p:txBody>
          <a:bodyPr/>
          <a:lstStyle/>
          <a:p>
            <a:r>
              <a:rPr lang="fr-FR" dirty="0" smtClean="0"/>
              <a:t>Exemple2 </a:t>
            </a:r>
            <a:r>
              <a:rPr lang="fr-FR" dirty="0"/>
              <a:t>: </a:t>
            </a:r>
            <a:r>
              <a:rPr lang="fr-FR" dirty="0" smtClean="0"/>
              <a:t>Création de nouvelles activités (5/5)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956"/>
          <a:stretch/>
        </p:blipFill>
        <p:spPr bwMode="auto">
          <a:xfrm>
            <a:off x="467544" y="3627702"/>
            <a:ext cx="8090973" cy="275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0813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816" y="2348880"/>
            <a:ext cx="3168352" cy="2053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294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vertical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 smtClean="0"/>
              <a:t>Description</a:t>
            </a:r>
            <a:endParaRPr lang="en-US" dirty="0"/>
          </a:p>
        </p:txBody>
      </p:sp>
      <p:sp>
        <p:nvSpPr>
          <p:cNvPr id="5" name="Espace réservé du texte vertical 4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/>
              <a:t>Exemple1 : Mise à jour de </a:t>
            </a:r>
            <a:r>
              <a:rPr lang="fr-FR" dirty="0" smtClean="0"/>
              <a:t>tickets</a:t>
            </a:r>
            <a:endParaRPr lang="en-US" dirty="0"/>
          </a:p>
        </p:txBody>
      </p:sp>
      <p:sp>
        <p:nvSpPr>
          <p:cNvPr id="6" name="Espace réservé du texte vertical 5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/>
              <a:t>Exemple2 : Création de nouvelles activité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725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vertical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/>
              <a:t>Description</a:t>
            </a:r>
            <a:endParaRPr lang="en-US" dirty="0"/>
          </a:p>
        </p:txBody>
      </p:sp>
      <p:sp>
        <p:nvSpPr>
          <p:cNvPr id="5" name="Espace réservé du texte vertical 4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/>
              <a:t>Exemple1 : Mise à jour de tickets</a:t>
            </a:r>
            <a:endParaRPr lang="en-US" dirty="0"/>
          </a:p>
          <a:p>
            <a:endParaRPr lang="en-US" dirty="0"/>
          </a:p>
        </p:txBody>
      </p:sp>
      <p:sp>
        <p:nvSpPr>
          <p:cNvPr id="6" name="Espace réservé du texte vertical 5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/>
              <a:t>Exemple2 : Création de nouvelles activité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232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fr-FR" sz="2000" dirty="0" smtClean="0"/>
              <a:t>Les listes d’éléments peuvent être exportées au format CSV :</a:t>
            </a:r>
          </a:p>
          <a:p>
            <a:pPr lvl="1"/>
            <a:r>
              <a:rPr lang="fr-FR" sz="2000" dirty="0" smtClean="0"/>
              <a:t>Tickets, Activités, Jalons, Actions, Risques, etc.</a:t>
            </a:r>
          </a:p>
          <a:p>
            <a:r>
              <a:rPr lang="fr-FR" sz="2000" dirty="0" smtClean="0"/>
              <a:t>Ceux-ci peuvent également être importés à partir d’un fichier Excel</a:t>
            </a:r>
          </a:p>
          <a:p>
            <a:pPr lvl="1"/>
            <a:r>
              <a:rPr lang="fr-FR" sz="1800" dirty="0" smtClean="0"/>
              <a:t>Les formats .CSV et .XLSX sont tous deux supportés</a:t>
            </a:r>
          </a:p>
          <a:p>
            <a:r>
              <a:rPr lang="fr-FR" sz="2000" dirty="0" smtClean="0"/>
              <a:t>Cette fonction est réservée aux chefs de projet et autres utilisateurs de haut niveau</a:t>
            </a:r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Description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3900008"/>
            <a:ext cx="4392488" cy="2409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à coins arrondis 4"/>
          <p:cNvSpPr/>
          <p:nvPr/>
        </p:nvSpPr>
        <p:spPr>
          <a:xfrm>
            <a:off x="2987824" y="5805264"/>
            <a:ext cx="2088232" cy="504056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987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On ne peut exporter une liste si l’ordre de tri n’est pas l’ordre par défaut</a:t>
            </a:r>
          </a:p>
          <a:p>
            <a:pPr lvl="1"/>
            <a:r>
              <a:rPr lang="fr-FR" sz="1800" dirty="0" smtClean="0"/>
              <a:t>Dans ce cas, le fichier exporté est vide </a:t>
            </a:r>
            <a:r>
              <a:rPr lang="fr-FR" sz="1800" dirty="0" smtClean="0">
                <a:sym typeface="Wingdings" pitchFamily="2" charset="2"/>
              </a:rPr>
              <a:t> Recharger la liste, puis exporter à nouveau</a:t>
            </a:r>
          </a:p>
          <a:p>
            <a:r>
              <a:rPr lang="fr-FR" dirty="0" smtClean="0">
                <a:sym typeface="Wingdings" pitchFamily="2" charset="2"/>
              </a:rPr>
              <a:t>Pas de gestion du WBS pour l’importation d’activités </a:t>
            </a:r>
          </a:p>
          <a:p>
            <a:pPr marL="457200" lvl="1" indent="0">
              <a:buNone/>
            </a:pPr>
            <a:endParaRPr lang="en-US" sz="2400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Limit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051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vertical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/>
              <a:t>Description</a:t>
            </a:r>
            <a:endParaRPr lang="en-US" dirty="0"/>
          </a:p>
        </p:txBody>
      </p:sp>
      <p:sp>
        <p:nvSpPr>
          <p:cNvPr id="7" name="Espace réservé du texte vertical 6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 smtClean="0"/>
              <a:t>Exemple1 : Mise à jour de tickets</a:t>
            </a:r>
            <a:endParaRPr lang="en-US" dirty="0"/>
          </a:p>
        </p:txBody>
      </p:sp>
      <p:sp>
        <p:nvSpPr>
          <p:cNvPr id="8" name="Espace réservé du texte vertical 7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/>
              <a:t>Exemple2 : Création de nouvelles activité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663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317822" y="1196752"/>
            <a:ext cx="8502650" cy="4679950"/>
          </a:xfrm>
        </p:spPr>
        <p:txBody>
          <a:bodyPr/>
          <a:lstStyle/>
          <a:p>
            <a:r>
              <a:rPr lang="fr-FR" sz="1800" dirty="0" smtClean="0"/>
              <a:t>Exporter la liste des tickets au format CSV</a:t>
            </a:r>
          </a:p>
          <a:p>
            <a:endParaRPr lang="fr-FR" sz="1800" dirty="0" smtClean="0"/>
          </a:p>
          <a:p>
            <a:endParaRPr lang="en-US" sz="1800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Exemple1 : Mise à jour de tickets (1/4)</a:t>
            </a:r>
            <a:endParaRPr lang="en-US" dirty="0"/>
          </a:p>
        </p:txBody>
      </p:sp>
      <p:grpSp>
        <p:nvGrpSpPr>
          <p:cNvPr id="5" name="Groupe 4"/>
          <p:cNvGrpSpPr/>
          <p:nvPr/>
        </p:nvGrpSpPr>
        <p:grpSpPr>
          <a:xfrm>
            <a:off x="1403648" y="1628800"/>
            <a:ext cx="4982954" cy="936104"/>
            <a:chOff x="1403648" y="1628800"/>
            <a:chExt cx="4982954" cy="936104"/>
          </a:xfrm>
        </p:grpSpPr>
        <p:pic>
          <p:nvPicPr>
            <p:cNvPr id="6" name="Picture 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3648" y="1700808"/>
              <a:ext cx="4982954" cy="7920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Rectangle à coins arrondis 1"/>
            <p:cNvSpPr/>
            <p:nvPr/>
          </p:nvSpPr>
          <p:spPr>
            <a:xfrm>
              <a:off x="3707904" y="1628800"/>
              <a:ext cx="2016224" cy="936104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Espace réservé du texte 3"/>
          <p:cNvSpPr txBox="1">
            <a:spLocks/>
          </p:cNvSpPr>
          <p:nvPr/>
        </p:nvSpPr>
        <p:spPr>
          <a:xfrm>
            <a:off x="251520" y="2708920"/>
            <a:ext cx="8502650" cy="144016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 3" pitchFamily="18" charset="2"/>
              <a:buChar char="î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–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42875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dirty="0" smtClean="0"/>
              <a:t>Faire les modifications nécessaires dans le fichier CSV:</a:t>
            </a:r>
          </a:p>
          <a:p>
            <a:pPr lvl="1"/>
            <a:r>
              <a:rPr lang="fr-FR" sz="1600" b="1" dirty="0" smtClean="0">
                <a:solidFill>
                  <a:srgbClr val="FF0000"/>
                </a:solidFill>
              </a:rPr>
              <a:t>Ne pas modifier la colonne « ID »</a:t>
            </a:r>
          </a:p>
          <a:p>
            <a:pPr lvl="1"/>
            <a:r>
              <a:rPr lang="fr-FR" sz="1600" b="1" dirty="0" smtClean="0">
                <a:solidFill>
                  <a:schemeClr val="tx2"/>
                </a:solidFill>
              </a:rPr>
              <a:t>Supprimer les colonnes et lignes qu’on ne veut pas modifier</a:t>
            </a:r>
          </a:p>
          <a:p>
            <a:endParaRPr lang="fr-FR" sz="1800" dirty="0" smtClean="0"/>
          </a:p>
          <a:p>
            <a:endParaRPr lang="en-US" sz="1800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017"/>
          <a:stretch/>
        </p:blipFill>
        <p:spPr bwMode="auto">
          <a:xfrm>
            <a:off x="1043609" y="3789040"/>
            <a:ext cx="5976664" cy="2503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66709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vertical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Faires les modifications voulues</a:t>
            </a:r>
          </a:p>
          <a:p>
            <a:pPr lvl="1"/>
            <a:r>
              <a:rPr lang="fr-FR" dirty="0" smtClean="0"/>
              <a:t>Avant:</a:t>
            </a:r>
          </a:p>
        </p:txBody>
      </p:sp>
      <p:sp>
        <p:nvSpPr>
          <p:cNvPr id="8" name="Titr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xemple1 : Mise à jour de </a:t>
            </a:r>
            <a:r>
              <a:rPr lang="fr-FR" dirty="0" smtClean="0"/>
              <a:t>tickets (2/4)</a:t>
            </a:r>
            <a:endParaRPr lang="en-US" dirty="0"/>
          </a:p>
        </p:txBody>
      </p:sp>
      <p:sp>
        <p:nvSpPr>
          <p:cNvPr id="14" name="Espace réservé du texte vertical 1"/>
          <p:cNvSpPr txBox="1">
            <a:spLocks/>
          </p:cNvSpPr>
          <p:nvPr/>
        </p:nvSpPr>
        <p:spPr>
          <a:xfrm>
            <a:off x="179512" y="4069327"/>
            <a:ext cx="8502650" cy="115212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 3" pitchFamily="18" charset="2"/>
              <a:buChar char="î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–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42875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fr-FR" dirty="0" smtClean="0"/>
              <a:t>Après:</a:t>
            </a:r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550292"/>
            <a:ext cx="6480720" cy="1502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885" y="4520054"/>
            <a:ext cx="6476396" cy="1501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Légende encadrée 2 10"/>
          <p:cNvSpPr/>
          <p:nvPr/>
        </p:nvSpPr>
        <p:spPr>
          <a:xfrm>
            <a:off x="7524328" y="5196381"/>
            <a:ext cx="1512168" cy="792088"/>
          </a:xfrm>
          <a:prstGeom prst="borderCallout2">
            <a:avLst>
              <a:gd name="adj1" fmla="val 46059"/>
              <a:gd name="adj2" fmla="val -1181"/>
              <a:gd name="adj3" fmla="val 85781"/>
              <a:gd name="adj4" fmla="val -11465"/>
              <a:gd name="adj5" fmla="val 86432"/>
              <a:gd name="adj6" fmla="val -75276"/>
            </a:avLst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Mauvaise saisie, ce n’est pas la valeur complète !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31990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Sélectionner la fonction d’importation</a:t>
            </a:r>
          </a:p>
          <a:p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Exemple1 </a:t>
            </a:r>
            <a:r>
              <a:rPr lang="fr-FR" dirty="0"/>
              <a:t>: Mise à jour de </a:t>
            </a:r>
            <a:r>
              <a:rPr lang="fr-FR" dirty="0" smtClean="0"/>
              <a:t>tickets (3/4)</a:t>
            </a:r>
            <a:endParaRPr 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2132856"/>
            <a:ext cx="2808312" cy="1540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Espace réservé du texte 3"/>
          <p:cNvSpPr txBox="1">
            <a:spLocks/>
          </p:cNvSpPr>
          <p:nvPr/>
        </p:nvSpPr>
        <p:spPr>
          <a:xfrm>
            <a:off x="267171" y="3933056"/>
            <a:ext cx="8502650" cy="100811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 3" pitchFamily="18" charset="2"/>
              <a:buChar char="î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–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42875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Choisir le type d’élément – ici « Ticket » et le fichier modifié</a:t>
            </a:r>
          </a:p>
          <a:p>
            <a:endParaRPr lang="fr-FR" dirty="0" smtClean="0"/>
          </a:p>
          <a:p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5424" y="4725144"/>
            <a:ext cx="3781425" cy="1000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96174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theme1.xml><?xml version="1.0" encoding="utf-8"?>
<a:theme xmlns:a="http://schemas.openxmlformats.org/drawingml/2006/main" name="S4_0396_FR_Modele_PPT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I</Template>
  <TotalTime>21048</TotalTime>
  <Words>393</Words>
  <Application>Microsoft Office PowerPoint</Application>
  <PresentationFormat>Affichage à l'écran (4:3)</PresentationFormat>
  <Paragraphs>65</Paragraphs>
  <Slides>17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4</vt:i4>
      </vt:variant>
      <vt:variant>
        <vt:lpstr>Titres des diapositives</vt:lpstr>
      </vt:variant>
      <vt:variant>
        <vt:i4>17</vt:i4>
      </vt:variant>
    </vt:vector>
  </HeadingPairs>
  <TitlesOfParts>
    <vt:vector size="21" baseType="lpstr">
      <vt:lpstr>S4_0396_FR_Modele_PPT</vt:lpstr>
      <vt:lpstr>5 Parties</vt:lpstr>
      <vt:lpstr>4 Parties</vt:lpstr>
      <vt:lpstr>3 Parties</vt:lpstr>
      <vt:lpstr>Guide utilisateur iPMP</vt:lpstr>
      <vt:lpstr>Présentation PowerPoint</vt:lpstr>
      <vt:lpstr>Présentation PowerPoint</vt:lpstr>
      <vt:lpstr>Description</vt:lpstr>
      <vt:lpstr>Limitations</vt:lpstr>
      <vt:lpstr>Présentation PowerPoint</vt:lpstr>
      <vt:lpstr>Exemple1 : Mise à jour de tickets (1/4)</vt:lpstr>
      <vt:lpstr>Exemple1 : Mise à jour de tickets (2/4)</vt:lpstr>
      <vt:lpstr>Exemple1 : Mise à jour de tickets (3/4)</vt:lpstr>
      <vt:lpstr>Exemple1 : Mise à jour de tickets (4/4)</vt:lpstr>
      <vt:lpstr>Présentation PowerPoint</vt:lpstr>
      <vt:lpstr>Exemple2 : Création de nouvelles activités (1/5)</vt:lpstr>
      <vt:lpstr>Exemple2 : Création de nouvelles activités (2/5)</vt:lpstr>
      <vt:lpstr>Exemple2 : Création de nouvelles activités (3/5)</vt:lpstr>
      <vt:lpstr>Exemple2 : Création de nouvelles activités (4/5)</vt:lpstr>
      <vt:lpstr>Exemple2 : Création de nouvelles activités (5/5)</vt:lpstr>
      <vt:lpstr>Présentation PowerPoint</vt:lpstr>
    </vt:vector>
  </TitlesOfParts>
  <Company>SI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olopez</dc:creator>
  <cp:lastModifiedBy>DHI</cp:lastModifiedBy>
  <cp:revision>5643</cp:revision>
  <dcterms:created xsi:type="dcterms:W3CDTF">2011-03-15T22:20:48Z</dcterms:created>
  <dcterms:modified xsi:type="dcterms:W3CDTF">2013-09-05T07:07:41Z</dcterms:modified>
</cp:coreProperties>
</file>